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93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6" autoAdjust="0"/>
    <p:restoredTop sz="94660"/>
  </p:normalViewPr>
  <p:slideViewPr>
    <p:cSldViewPr snapToGrid="0" showGuides="1">
      <p:cViewPr varScale="1">
        <p:scale>
          <a:sx n="58" d="100"/>
          <a:sy n="58" d="100"/>
        </p:scale>
        <p:origin x="57" y="74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C7ADA3F-051A-493F-BE25-F713632869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501" imgH="501" progId="TCLayout.ActiveDocument.1">
                  <p:embed/>
                </p:oleObj>
              </mc:Choice>
              <mc:Fallback>
                <p:oleObj name="think-cell Folie" r:id="rId4" imgW="501" imgH="50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C7ADA3F-051A-493F-BE25-F713632869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>
            <a:extLst>
              <a:ext uri="{FF2B5EF4-FFF2-40B4-BE49-F238E27FC236}">
                <a16:creationId xmlns:a16="http://schemas.microsoft.com/office/drawing/2014/main" id="{F9B874E7-3723-4BD7-9286-EEB208867E6F}"/>
              </a:ext>
            </a:extLst>
          </p:cNvPr>
          <p:cNvSpPr/>
          <p:nvPr userDrawn="1"/>
        </p:nvSpPr>
        <p:spPr>
          <a:xfrm>
            <a:off x="1469881" y="1037566"/>
            <a:ext cx="11464581" cy="50515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34E7338-ED62-4383-9005-49121123E4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19446" r="10232" b="26778"/>
          <a:stretch/>
        </p:blipFill>
        <p:spPr>
          <a:xfrm>
            <a:off x="3395176" y="2936837"/>
            <a:ext cx="5043974" cy="1225588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4C73670A-340C-44E5-9C8F-045C7E88D424}"/>
              </a:ext>
            </a:extLst>
          </p:cNvPr>
          <p:cNvSpPr/>
          <p:nvPr userDrawn="1"/>
        </p:nvSpPr>
        <p:spPr>
          <a:xfrm rot="20525856">
            <a:off x="-3305175" y="-2893033"/>
            <a:ext cx="13363575" cy="50240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1D17066-04B4-48AE-BFD9-146A9054019E}"/>
              </a:ext>
            </a:extLst>
          </p:cNvPr>
          <p:cNvSpPr/>
          <p:nvPr userDrawn="1"/>
        </p:nvSpPr>
        <p:spPr>
          <a:xfrm rot="3289960">
            <a:off x="-5200650" y="3583966"/>
            <a:ext cx="13363575" cy="50240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88EDCB0-680C-4C3C-AF13-81A1E4A6761F}"/>
              </a:ext>
            </a:extLst>
          </p:cNvPr>
          <p:cNvSpPr/>
          <p:nvPr userDrawn="1"/>
        </p:nvSpPr>
        <p:spPr>
          <a:xfrm rot="21142161">
            <a:off x="-295274" y="4890267"/>
            <a:ext cx="13363575" cy="50240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4724848-9444-4451-9C6A-B8C61F65C7FF}"/>
              </a:ext>
            </a:extLst>
          </p:cNvPr>
          <p:cNvSpPr/>
          <p:nvPr userDrawn="1"/>
        </p:nvSpPr>
        <p:spPr>
          <a:xfrm rot="1117015">
            <a:off x="1922191" y="-2245333"/>
            <a:ext cx="13363575" cy="50240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5D87EE-8C7E-4A95-8485-256EE1C5247A}"/>
              </a:ext>
            </a:extLst>
          </p:cNvPr>
          <p:cNvSpPr/>
          <p:nvPr userDrawn="1"/>
        </p:nvSpPr>
        <p:spPr>
          <a:xfrm rot="20665706">
            <a:off x="-1809581" y="-2417285"/>
            <a:ext cx="8934450" cy="22978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6D87FF5-56CF-49FD-A0DA-047AA8D3DD22}"/>
              </a:ext>
            </a:extLst>
          </p:cNvPr>
          <p:cNvSpPr/>
          <p:nvPr userDrawn="1"/>
        </p:nvSpPr>
        <p:spPr>
          <a:xfrm rot="725562">
            <a:off x="-1365276" y="6727002"/>
            <a:ext cx="8934450" cy="22978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CC6C3C6-FBFD-48A5-BA00-D6DAC3CB37AF}"/>
              </a:ext>
            </a:extLst>
          </p:cNvPr>
          <p:cNvSpPr/>
          <p:nvPr userDrawn="1"/>
        </p:nvSpPr>
        <p:spPr>
          <a:xfrm rot="20368810">
            <a:off x="5954482" y="6553478"/>
            <a:ext cx="8934450" cy="22978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834BCC9-1596-4C1B-A7D0-C7260A0486E3}"/>
              </a:ext>
            </a:extLst>
          </p:cNvPr>
          <p:cNvSpPr/>
          <p:nvPr userDrawn="1"/>
        </p:nvSpPr>
        <p:spPr>
          <a:xfrm rot="6084520">
            <a:off x="-5477285" y="1653091"/>
            <a:ext cx="8934450" cy="22978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674CDF92-9102-4F02-A163-07CD6E40B02C}"/>
              </a:ext>
            </a:extLst>
          </p:cNvPr>
          <p:cNvSpPr/>
          <p:nvPr userDrawn="1"/>
        </p:nvSpPr>
        <p:spPr>
          <a:xfrm rot="3344252">
            <a:off x="7188315" y="-551795"/>
            <a:ext cx="11640899" cy="22978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80733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6126C8-0D87-4143-B70D-69A5C2EB34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5" imgW="501" imgH="501" progId="TCLayout.ActiveDocument.1">
                  <p:embed/>
                </p:oleObj>
              </mc:Choice>
              <mc:Fallback>
                <p:oleObj name="think-cell Folie" r:id="rId5" imgW="501" imgH="50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6126C8-0D87-4143-B70D-69A5C2EB34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8F1297B-BA84-447E-AF2D-E56A4EC024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0DBB9164-78CC-4DC2-A4F2-DBC0DFA05854}"/>
              </a:ext>
            </a:extLst>
          </p:cNvPr>
          <p:cNvSpPr/>
          <p:nvPr userDrawn="1"/>
        </p:nvSpPr>
        <p:spPr>
          <a:xfrm rot="1219052">
            <a:off x="-1710814" y="5431265"/>
            <a:ext cx="9618878" cy="3054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AD5762B-2F54-4C89-9068-7761169024E4}"/>
              </a:ext>
            </a:extLst>
          </p:cNvPr>
          <p:cNvSpPr/>
          <p:nvPr userDrawn="1"/>
        </p:nvSpPr>
        <p:spPr>
          <a:xfrm rot="20735630">
            <a:off x="5682066" y="5764750"/>
            <a:ext cx="8519792" cy="20603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3992C10-1D65-4134-AC25-B9577FC4B0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19446" r="10232" b="26778"/>
          <a:stretch/>
        </p:blipFill>
        <p:spPr>
          <a:xfrm>
            <a:off x="218645" y="5799763"/>
            <a:ext cx="3799397" cy="923180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2E6D5486-F968-46EE-BFAE-F847B2EFB9BE}"/>
              </a:ext>
            </a:extLst>
          </p:cNvPr>
          <p:cNvSpPr/>
          <p:nvPr userDrawn="1"/>
        </p:nvSpPr>
        <p:spPr>
          <a:xfrm rot="1219052">
            <a:off x="4623312" y="-1627614"/>
            <a:ext cx="9618878" cy="3054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2088F8-656F-4A2A-9C29-77ECDDB0A389}"/>
              </a:ext>
            </a:extLst>
          </p:cNvPr>
          <p:cNvSpPr/>
          <p:nvPr userDrawn="1"/>
        </p:nvSpPr>
        <p:spPr>
          <a:xfrm rot="20735630">
            <a:off x="-3500033" y="-1275957"/>
            <a:ext cx="8519792" cy="20603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40913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nutzerdefiniertes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6126C8-0D87-4143-B70D-69A5C2EB34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5" imgW="501" imgH="501" progId="TCLayout.ActiveDocument.1">
                  <p:embed/>
                </p:oleObj>
              </mc:Choice>
              <mc:Fallback>
                <p:oleObj name="think-cell Folie" r:id="rId5" imgW="501" imgH="50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6126C8-0D87-4143-B70D-69A5C2EB34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8F1297B-BA84-447E-AF2D-E56A4EC024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9" name="Grafik 8" descr="Ein Bild, das Text, Karte enthält.&#10;&#10;Automatisch generierte Beschreibung">
            <a:extLst>
              <a:ext uri="{FF2B5EF4-FFF2-40B4-BE49-F238E27FC236}">
                <a16:creationId xmlns:a16="http://schemas.microsoft.com/office/drawing/2014/main" id="{D2A2C820-18E5-4964-BC62-CED03649593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758" y="-1721940"/>
            <a:ext cx="13957515" cy="8444883"/>
          </a:xfrm>
          <a:prstGeom prst="rect">
            <a:avLst/>
          </a:prstGeom>
        </p:spPr>
      </p:pic>
      <p:sp>
        <p:nvSpPr>
          <p:cNvPr id="23" name="Rechteck 22">
            <a:extLst>
              <a:ext uri="{FF2B5EF4-FFF2-40B4-BE49-F238E27FC236}">
                <a16:creationId xmlns:a16="http://schemas.microsoft.com/office/drawing/2014/main" id="{0DBB9164-78CC-4DC2-A4F2-DBC0DFA05854}"/>
              </a:ext>
            </a:extLst>
          </p:cNvPr>
          <p:cNvSpPr/>
          <p:nvPr userDrawn="1"/>
        </p:nvSpPr>
        <p:spPr>
          <a:xfrm rot="1219052">
            <a:off x="-1710814" y="5431265"/>
            <a:ext cx="9618878" cy="3054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AD5762B-2F54-4C89-9068-7761169024E4}"/>
              </a:ext>
            </a:extLst>
          </p:cNvPr>
          <p:cNvSpPr/>
          <p:nvPr userDrawn="1"/>
        </p:nvSpPr>
        <p:spPr>
          <a:xfrm rot="20735630">
            <a:off x="5682066" y="5764750"/>
            <a:ext cx="8519792" cy="20603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3992C10-1D65-4134-AC25-B9577FC4B0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19446" r="10232" b="26778"/>
          <a:stretch/>
        </p:blipFill>
        <p:spPr>
          <a:xfrm>
            <a:off x="218645" y="5799763"/>
            <a:ext cx="3799397" cy="923180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2E6D5486-F968-46EE-BFAE-F847B2EFB9BE}"/>
              </a:ext>
            </a:extLst>
          </p:cNvPr>
          <p:cNvSpPr/>
          <p:nvPr userDrawn="1"/>
        </p:nvSpPr>
        <p:spPr>
          <a:xfrm rot="1219052">
            <a:off x="4623312" y="-1627614"/>
            <a:ext cx="9618878" cy="3054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2088F8-656F-4A2A-9C29-77ECDDB0A389}"/>
              </a:ext>
            </a:extLst>
          </p:cNvPr>
          <p:cNvSpPr/>
          <p:nvPr userDrawn="1"/>
        </p:nvSpPr>
        <p:spPr>
          <a:xfrm rot="20735630">
            <a:off x="-3500033" y="-1275957"/>
            <a:ext cx="8519792" cy="20603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82209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6126C8-0D87-4143-B70D-69A5C2EB34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5" imgW="501" imgH="501" progId="TCLayout.ActiveDocument.1">
                  <p:embed/>
                </p:oleObj>
              </mc:Choice>
              <mc:Fallback>
                <p:oleObj name="think-cell Folie" r:id="rId5" imgW="501" imgH="50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6126C8-0D87-4143-B70D-69A5C2EB34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8F1297B-BA84-447E-AF2D-E56A4EC024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37DD5C95-5118-4771-BBEF-C494A39B1CB1}"/>
              </a:ext>
            </a:extLst>
          </p:cNvPr>
          <p:cNvSpPr/>
          <p:nvPr userDrawn="1"/>
        </p:nvSpPr>
        <p:spPr>
          <a:xfrm rot="4527741">
            <a:off x="9692471" y="3397882"/>
            <a:ext cx="6199567" cy="199268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4B1D7E8-D936-45CF-9801-E6E96A3D99E6}"/>
              </a:ext>
            </a:extLst>
          </p:cNvPr>
          <p:cNvSpPr/>
          <p:nvPr userDrawn="1"/>
        </p:nvSpPr>
        <p:spPr>
          <a:xfrm rot="657883">
            <a:off x="5499691" y="-1194604"/>
            <a:ext cx="11537227" cy="3054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3992C10-1D65-4134-AC25-B9577FC4B0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19446" r="10232" b="26778"/>
          <a:stretch/>
        </p:blipFill>
        <p:spPr>
          <a:xfrm>
            <a:off x="8261974" y="169928"/>
            <a:ext cx="3799397" cy="923180"/>
          </a:xfrm>
          <a:prstGeom prst="rect">
            <a:avLst/>
          </a:prstGeom>
        </p:spPr>
      </p:pic>
      <p:sp>
        <p:nvSpPr>
          <p:cNvPr id="23" name="Rechteck 22">
            <a:extLst>
              <a:ext uri="{FF2B5EF4-FFF2-40B4-BE49-F238E27FC236}">
                <a16:creationId xmlns:a16="http://schemas.microsoft.com/office/drawing/2014/main" id="{0DBB9164-78CC-4DC2-A4F2-DBC0DFA05854}"/>
              </a:ext>
            </a:extLst>
          </p:cNvPr>
          <p:cNvSpPr/>
          <p:nvPr userDrawn="1"/>
        </p:nvSpPr>
        <p:spPr>
          <a:xfrm rot="1219052">
            <a:off x="-2374202" y="6626560"/>
            <a:ext cx="9618878" cy="3054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AD5762B-2F54-4C89-9068-7761169024E4}"/>
              </a:ext>
            </a:extLst>
          </p:cNvPr>
          <p:cNvSpPr/>
          <p:nvPr userDrawn="1"/>
        </p:nvSpPr>
        <p:spPr>
          <a:xfrm rot="20735630">
            <a:off x="7286170" y="6394201"/>
            <a:ext cx="6524172" cy="206037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270E67C-D557-4518-B98B-F9D64954CE0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21969" flipH="1">
            <a:off x="10977987" y="5263527"/>
            <a:ext cx="975933" cy="975933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1983285F-4D38-4741-A705-E00BBD5D670A}"/>
              </a:ext>
            </a:extLst>
          </p:cNvPr>
          <p:cNvSpPr/>
          <p:nvPr userDrawn="1"/>
        </p:nvSpPr>
        <p:spPr>
          <a:xfrm rot="3242169">
            <a:off x="4271788" y="-364033"/>
            <a:ext cx="4524188" cy="255227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D265A74C-67DC-4684-891E-EE5BF3ACBA31}"/>
              </a:ext>
            </a:extLst>
          </p:cNvPr>
          <p:cNvSpPr/>
          <p:nvPr userDrawn="1"/>
        </p:nvSpPr>
        <p:spPr>
          <a:xfrm rot="21401698">
            <a:off x="-93548" y="1511210"/>
            <a:ext cx="8676000" cy="7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7819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16126C8-0D87-4143-B70D-69A5C2EB34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5" imgW="501" imgH="501" progId="TCLayout.ActiveDocument.1">
                  <p:embed/>
                </p:oleObj>
              </mc:Choice>
              <mc:Fallback>
                <p:oleObj name="think-cell Folie" r:id="rId5" imgW="501" imgH="50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16126C8-0D87-4143-B70D-69A5C2EB34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8F1297B-BA84-447E-AF2D-E56A4EC024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983285F-4D38-4741-A705-E00BBD5D670A}"/>
              </a:ext>
            </a:extLst>
          </p:cNvPr>
          <p:cNvSpPr/>
          <p:nvPr userDrawn="1"/>
        </p:nvSpPr>
        <p:spPr>
          <a:xfrm rot="3242169">
            <a:off x="4271788" y="-364033"/>
            <a:ext cx="4524188" cy="255227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Grafik 12" descr="Ein Bild, das Text, Karte enthält.&#10;&#10;Automatisch generierte Beschreibung">
            <a:extLst>
              <a:ext uri="{FF2B5EF4-FFF2-40B4-BE49-F238E27FC236}">
                <a16:creationId xmlns:a16="http://schemas.microsoft.com/office/drawing/2014/main" id="{5C761274-3638-4564-B1C1-02994B8B2A6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015" y="49603"/>
            <a:ext cx="13957515" cy="8444883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37DD5C95-5118-4771-BBEF-C494A39B1CB1}"/>
              </a:ext>
            </a:extLst>
          </p:cNvPr>
          <p:cNvSpPr/>
          <p:nvPr userDrawn="1"/>
        </p:nvSpPr>
        <p:spPr>
          <a:xfrm rot="4527741">
            <a:off x="9692471" y="3397882"/>
            <a:ext cx="6199567" cy="199268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4B1D7E8-D936-45CF-9801-E6E96A3D99E6}"/>
              </a:ext>
            </a:extLst>
          </p:cNvPr>
          <p:cNvSpPr/>
          <p:nvPr userDrawn="1"/>
        </p:nvSpPr>
        <p:spPr>
          <a:xfrm rot="657883">
            <a:off x="5499691" y="-1194604"/>
            <a:ext cx="11537227" cy="3054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3992C10-1D65-4134-AC25-B9577FC4B0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19446" r="10232" b="26778"/>
          <a:stretch/>
        </p:blipFill>
        <p:spPr>
          <a:xfrm>
            <a:off x="8261974" y="169928"/>
            <a:ext cx="3799397" cy="923180"/>
          </a:xfrm>
          <a:prstGeom prst="rect">
            <a:avLst/>
          </a:prstGeom>
        </p:spPr>
      </p:pic>
      <p:sp>
        <p:nvSpPr>
          <p:cNvPr id="23" name="Rechteck 22">
            <a:extLst>
              <a:ext uri="{FF2B5EF4-FFF2-40B4-BE49-F238E27FC236}">
                <a16:creationId xmlns:a16="http://schemas.microsoft.com/office/drawing/2014/main" id="{0DBB9164-78CC-4DC2-A4F2-DBC0DFA05854}"/>
              </a:ext>
            </a:extLst>
          </p:cNvPr>
          <p:cNvSpPr/>
          <p:nvPr userDrawn="1"/>
        </p:nvSpPr>
        <p:spPr>
          <a:xfrm rot="1219052">
            <a:off x="-2374202" y="6626560"/>
            <a:ext cx="9618878" cy="3054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AD5762B-2F54-4C89-9068-7761169024E4}"/>
              </a:ext>
            </a:extLst>
          </p:cNvPr>
          <p:cNvSpPr/>
          <p:nvPr userDrawn="1"/>
        </p:nvSpPr>
        <p:spPr>
          <a:xfrm rot="20735630">
            <a:off x="7286170" y="6394201"/>
            <a:ext cx="6524172" cy="206037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270E67C-D557-4518-B98B-F9D64954CE07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21969" flipH="1">
            <a:off x="10977987" y="5263527"/>
            <a:ext cx="975933" cy="975933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D265A74C-67DC-4684-891E-EE5BF3ACBA31}"/>
              </a:ext>
            </a:extLst>
          </p:cNvPr>
          <p:cNvSpPr/>
          <p:nvPr userDrawn="1"/>
        </p:nvSpPr>
        <p:spPr>
          <a:xfrm rot="21401698">
            <a:off x="-93548" y="1511210"/>
            <a:ext cx="8676000" cy="7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92101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DE0D888-545E-400D-8FAD-E1EF4F0E2A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5" imgW="501" imgH="501" progId="TCLayout.ActiveDocument.1">
                  <p:embed/>
                </p:oleObj>
              </mc:Choice>
              <mc:Fallback>
                <p:oleObj name="think-cell Folie" r:id="rId5" imgW="501" imgH="50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DE0D888-545E-400D-8FAD-E1EF4F0E2A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10D742B-DC43-4565-B680-7F7DBC7E21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1A1B7E2-F0CF-405A-95F1-7CDDF06ABC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333A098-BC77-45FF-A399-CCB02193AF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392D14A-28B2-4272-ABC8-E76723A1B2B4}" type="datetimeFigureOut">
              <a:rPr lang="de-DE" smtClean="0"/>
              <a:t>24.05.2019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4973344-8862-4F13-980F-7711A535C0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25A61B5-4AE2-490A-8B92-71D4C8A3FF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DB288DE-F7C6-424F-9AC6-E2045F2B381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2341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AC8DF36-F7E9-4034-9442-6E8873DEFA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10" imgW="501" imgH="501" progId="TCLayout.ActiveDocument.1">
                  <p:embed/>
                </p:oleObj>
              </mc:Choice>
              <mc:Fallback>
                <p:oleObj name="think-cell Folie" r:id="rId10" imgW="501" imgH="50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AC8DF36-F7E9-4034-9442-6E8873DEF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39311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29CD9274-7117-4CD7-934F-A0B82B7F22D4}"/>
              </a:ext>
            </a:extLst>
          </p:cNvPr>
          <p:cNvSpPr txBox="1"/>
          <p:nvPr/>
        </p:nvSpPr>
        <p:spPr>
          <a:xfrm>
            <a:off x="334963" y="0"/>
            <a:ext cx="6967537" cy="132343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gency FB" panose="020B0503020202020204" pitchFamily="34" charset="0"/>
                <a:ea typeface="+mn-ea"/>
                <a:cs typeface="+mn-cs"/>
              </a:rPr>
              <a:t>THE CUSTOMER CAN CHOOSE BETWEEN THREE PACKAGES 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F66580D7-2111-4F34-9DD4-1B9F43679FD6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 flipH="1" flipV="1">
            <a:off x="783771" y="2621281"/>
            <a:ext cx="3052938" cy="285569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1CADE4">
                  <a:lumMod val="100000"/>
                </a:srgbClr>
              </a:buClr>
              <a:buSzPct val="100000"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gency FB"/>
                <a:ea typeface="+mn-ea"/>
                <a:cs typeface="+mn-cs"/>
              </a:rPr>
              <a:t>SERVICE: LIFE OR MOVER ON DEMAND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1CADE4">
                  <a:lumMod val="100000"/>
                </a:srgbClr>
              </a:buClr>
              <a:buSzPct val="100000"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gency FB"/>
                <a:ea typeface="+mn-ea"/>
                <a:cs typeface="+mn-cs"/>
              </a:rPr>
              <a:t>PRICE: 60ct/km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EEBD94D-DD8D-4DBD-8F38-DA3FACDEC4A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783771" y="2151017"/>
            <a:ext cx="3052938" cy="4702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gency FB"/>
                <a:ea typeface="+mn-ea"/>
                <a:cs typeface="+mn-cs"/>
              </a:rPr>
              <a:t>LITE 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289CC1DA-0AEC-45DC-8DE5-61E0A28CEB8B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0800000" flipH="1" flipV="1">
            <a:off x="4569531" y="2621281"/>
            <a:ext cx="3052938" cy="285569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1CADE4">
                  <a:lumMod val="100000"/>
                </a:srgbClr>
              </a:buClr>
              <a:buSzPct val="100000"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gency FB"/>
                <a:ea typeface="+mn-ea"/>
                <a:cs typeface="+mn-cs"/>
              </a:rPr>
              <a:t>SERVICE: MOVER ON DEMAND 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1CADE4">
                  <a:lumMod val="100000"/>
                </a:srgbClr>
              </a:buClr>
              <a:buSzPct val="100000"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gency FB"/>
                <a:ea typeface="+mn-ea"/>
                <a:cs typeface="+mn-cs"/>
              </a:rPr>
              <a:t>PRICE: 49€/MONTH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1CADE4">
                  <a:lumMod val="100000"/>
                </a:srgbClr>
              </a:buClr>
              <a:buSzPct val="100000"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gency FB"/>
              <a:ea typeface="+mn-ea"/>
              <a:cs typeface="+mn-cs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290D6A8-9708-4972-AC2B-F303E8D9CBE9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4569531" y="2151017"/>
            <a:ext cx="3052938" cy="4702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gency FB"/>
                <a:ea typeface="+mn-ea"/>
                <a:cs typeface="+mn-cs"/>
              </a:rPr>
              <a:t>FREQUENT TRAVELLER </a:t>
            </a: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DEE63C74-01A0-4D92-A3DE-821043191049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0800000" flipH="1" flipV="1">
            <a:off x="8355291" y="2621281"/>
            <a:ext cx="3052938" cy="285569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1CADE4">
                  <a:lumMod val="100000"/>
                </a:srgbClr>
              </a:buClr>
              <a:buSzPct val="100000"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gency FB"/>
                <a:ea typeface="+mn-ea"/>
                <a:cs typeface="+mn-cs"/>
              </a:rPr>
              <a:t>SERVICE: UNLIMITED USE OF ALL </a:t>
            </a: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1CADE4"/>
                </a:solidFill>
                <a:effectLst/>
                <a:uLnTx/>
                <a:uFillTx/>
                <a:latin typeface="Agency FB"/>
                <a:ea typeface="+mn-ea"/>
                <a:cs typeface="+mn-cs"/>
              </a:rPr>
              <a:t>e.CO </a:t>
            </a: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gency FB"/>
                <a:ea typeface="+mn-ea"/>
                <a:cs typeface="+mn-cs"/>
              </a:rPr>
              <a:t>PRODUCTS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1CADE4">
                  <a:lumMod val="100000"/>
                </a:srgbClr>
              </a:buClr>
              <a:buSzPct val="100000"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gency FB"/>
                <a:ea typeface="+mn-ea"/>
                <a:cs typeface="+mn-cs"/>
              </a:rPr>
              <a:t>PRICE: 149€/MONTH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1CADE4">
                  <a:lumMod val="100000"/>
                </a:srgbClr>
              </a:buClr>
              <a:buSzPct val="100000"/>
              <a:buFont typeface="Wingdings" pitchFamily="2" charset="2"/>
              <a:buNone/>
              <a:tabLst>
                <a:tab pos="266700" algn="l"/>
                <a:tab pos="631825" algn="l"/>
                <a:tab pos="981075" algn="l"/>
              </a:tabLst>
              <a:defRPr/>
            </a:pP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gency FB"/>
              <a:ea typeface="+mn-ea"/>
              <a:cs typeface="+mn-cs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A18483C-28EC-45A3-A5D6-D694B147F8F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355291" y="2151017"/>
            <a:ext cx="3052938" cy="4702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gency FB"/>
                <a:ea typeface="+mn-ea"/>
                <a:cs typeface="+mn-cs"/>
              </a:rPr>
              <a:t>PREMIUM MOVER </a:t>
            </a:r>
          </a:p>
        </p:txBody>
      </p:sp>
    </p:spTree>
    <p:extLst>
      <p:ext uri="{BB962C8B-B14F-4D97-AF65-F5344CB8AC3E}">
        <p14:creationId xmlns:p14="http://schemas.microsoft.com/office/powerpoint/2010/main" val="34645183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nCZNuQeKD3Y.kPnr6Pz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XTC0RD0U3YrBkPiRLy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EE4P_TEMPLATEMASTE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EE4P_TEMPLATEMAST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EE4P_TEMPLATEMASTER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EE4P_TEMPLATEMASTER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EE4P_TEMPLATEMASTER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EE4P_TEMPLATEMAST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nCZNuQeKD3Y.kPnr6P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nCZNuQeKD3Y.kPnr6P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nCZNuQeKD3Y.kPnr6P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Benutzerdefiniert 6">
      <a:dk1>
        <a:sysClr val="windowText" lastClr="000000"/>
      </a:dk1>
      <a:lt1>
        <a:sysClr val="window" lastClr="FFFFFF"/>
      </a:lt1>
      <a:dk2>
        <a:srgbClr val="3F3F3F"/>
      </a:dk2>
      <a:lt2>
        <a:srgbClr val="D8D8D8"/>
      </a:lt2>
      <a:accent1>
        <a:srgbClr val="1CADE4"/>
      </a:accent1>
      <a:accent2>
        <a:srgbClr val="14496F"/>
      </a:accent2>
      <a:accent3>
        <a:srgbClr val="FF00FF"/>
      </a:accent3>
      <a:accent4>
        <a:srgbClr val="9900CC"/>
      </a:accent4>
      <a:accent5>
        <a:srgbClr val="FFFF00"/>
      </a:accent5>
      <a:accent6>
        <a:srgbClr val="00FF00"/>
      </a:accent6>
      <a:hlink>
        <a:srgbClr val="FFFF00"/>
      </a:hlink>
      <a:folHlink>
        <a:srgbClr val="FF0000"/>
      </a:folHlink>
    </a:clrScheme>
    <a:fontScheme name="e.CO CD">
      <a:majorFont>
        <a:latin typeface="Agency FB"/>
        <a:ea typeface=""/>
        <a:cs typeface=""/>
      </a:majorFont>
      <a:minorFont>
        <a:latin typeface="Agency FB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</Words>
  <Application>Microsoft Office PowerPoint</Application>
  <PresentationFormat>Breitbild</PresentationFormat>
  <Paragraphs>1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gency FB</vt:lpstr>
      <vt:lpstr>Arial</vt:lpstr>
      <vt:lpstr>Calibri Light</vt:lpstr>
      <vt:lpstr>Wingdings</vt:lpstr>
      <vt:lpstr>1_Office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ominik Bißlich</dc:creator>
  <cp:lastModifiedBy>Dominik Bißlich</cp:lastModifiedBy>
  <cp:revision>1</cp:revision>
  <dcterms:created xsi:type="dcterms:W3CDTF">2019-05-24T13:12:30Z</dcterms:created>
  <dcterms:modified xsi:type="dcterms:W3CDTF">2019-05-24T13:13:13Z</dcterms:modified>
</cp:coreProperties>
</file>